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1" r:id="rId3"/>
    <p:sldId id="257" r:id="rId4"/>
    <p:sldId id="265" r:id="rId5"/>
    <p:sldId id="266" r:id="rId6"/>
    <p:sldId id="267" r:id="rId7"/>
    <p:sldId id="268" r:id="rId8"/>
    <p:sldId id="269" r:id="rId9"/>
  </p:sldIdLst>
  <p:sldSz cx="12192000" cy="6858000"/>
  <p:notesSz cx="6808788" cy="9940925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arzyna Mąkólska" initials="KM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FFFFFF"/>
    <a:srgbClr val="F9F9F9"/>
    <a:srgbClr val="CCFFCC"/>
    <a:srgbClr val="EAEAEA"/>
    <a:srgbClr val="E2EFDA"/>
    <a:srgbClr val="248C24"/>
    <a:srgbClr val="1F7B1F"/>
    <a:srgbClr val="6EFF0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 pośredni 2 — Ak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269D01E-BC32-4049-B463-5C60D7B0CCD2}" styleName="Styl z motywem 2 — Ak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Styl z motywem 2 — Ak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Styl jasny 1 — Ak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6" autoAdjust="0"/>
    <p:restoredTop sz="94660" autoAdjust="0"/>
  </p:normalViewPr>
  <p:slideViewPr>
    <p:cSldViewPr snapToGrid="0">
      <p:cViewPr>
        <p:scale>
          <a:sx n="79" d="100"/>
          <a:sy n="79" d="100"/>
        </p:scale>
        <p:origin x="-504" y="-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970" y="-10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Arkusz2!$C$2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F0000"/>
              </a:solidFill>
              <a:ln w="28575">
                <a:solidFill>
                  <a:srgbClr val="FFFFFF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2!$B$3:$B$14</c:f>
              <c:strCache>
                <c:ptCount val="12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</c:strCache>
            </c:strRef>
          </c:cat>
          <c:val>
            <c:numRef>
              <c:f>Arkusz2!$C$3:$C$14</c:f>
              <c:numCache>
                <c:formatCode>0.00%</c:formatCode>
                <c:ptCount val="12"/>
                <c:pt idx="0">
                  <c:v>0.31900000000000001</c:v>
                </c:pt>
                <c:pt idx="1">
                  <c:v>3.3000000000000002E-2</c:v>
                </c:pt>
                <c:pt idx="2">
                  <c:v>0.39700000000000002</c:v>
                </c:pt>
                <c:pt idx="3">
                  <c:v>0.26900000000000002</c:v>
                </c:pt>
                <c:pt idx="4">
                  <c:v>0.20799999999999999</c:v>
                </c:pt>
                <c:pt idx="5">
                  <c:v>3.5000000000000003E-2</c:v>
                </c:pt>
                <c:pt idx="6">
                  <c:v>0.48599999999999999</c:v>
                </c:pt>
                <c:pt idx="7">
                  <c:v>0.50900000000000001</c:v>
                </c:pt>
                <c:pt idx="8" formatCode="0%">
                  <c:v>0.01</c:v>
                </c:pt>
                <c:pt idx="9">
                  <c:v>0.70699999999999996</c:v>
                </c:pt>
                <c:pt idx="10">
                  <c:v>1.0999999999999999E-2</c:v>
                </c:pt>
                <c:pt idx="11">
                  <c:v>0.05</c:v>
                </c:pt>
              </c:numCache>
            </c:numRef>
          </c:val>
        </c:ser>
        <c:ser>
          <c:idx val="1"/>
          <c:order val="1"/>
          <c:tx>
            <c:strRef>
              <c:f>Arkusz2!$D$2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4</c:f>
              <c:strCache>
                <c:ptCount val="12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</c:strCache>
            </c:strRef>
          </c:cat>
          <c:val>
            <c:numRef>
              <c:f>Arkusz2!$D$3:$D$14</c:f>
              <c:numCache>
                <c:formatCode>0.00%</c:formatCode>
                <c:ptCount val="12"/>
                <c:pt idx="0">
                  <c:v>0.54</c:v>
                </c:pt>
                <c:pt idx="1">
                  <c:v>0.14000000000000001</c:v>
                </c:pt>
                <c:pt idx="2">
                  <c:v>8.6999999999999994E-2</c:v>
                </c:pt>
                <c:pt idx="3">
                  <c:v>0.69199999999999995</c:v>
                </c:pt>
                <c:pt idx="4">
                  <c:v>0.28000000000000003</c:v>
                </c:pt>
                <c:pt idx="5">
                  <c:v>0.75600000000000001</c:v>
                </c:pt>
                <c:pt idx="6">
                  <c:v>0.35599999999999998</c:v>
                </c:pt>
                <c:pt idx="7">
                  <c:v>6.7000000000000004E-2</c:v>
                </c:pt>
                <c:pt idx="8" formatCode="0%">
                  <c:v>0.71</c:v>
                </c:pt>
                <c:pt idx="9">
                  <c:v>0.218</c:v>
                </c:pt>
                <c:pt idx="10">
                  <c:v>0.17100000000000001</c:v>
                </c:pt>
                <c:pt idx="11">
                  <c:v>0.67799999999999994</c:v>
                </c:pt>
              </c:numCache>
            </c:numRef>
          </c:val>
        </c:ser>
        <c:ser>
          <c:idx val="2"/>
          <c:order val="2"/>
          <c:tx>
            <c:strRef>
              <c:f>Arkusz2!$E$2</c:f>
              <c:strCache>
                <c:ptCount val="1"/>
                <c:pt idx="0">
                  <c:v>A/H1N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4</c:f>
              <c:strCache>
                <c:ptCount val="12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</c:strCache>
            </c:strRef>
          </c:cat>
          <c:val>
            <c:numRef>
              <c:f>Arkusz2!$E$3:$E$14</c:f>
              <c:numCache>
                <c:formatCode>0.00%</c:formatCode>
                <c:ptCount val="12"/>
                <c:pt idx="0">
                  <c:v>2.7E-2</c:v>
                </c:pt>
                <c:pt idx="1">
                  <c:v>0.82699999999999996</c:v>
                </c:pt>
                <c:pt idx="2">
                  <c:v>0.51600000000000001</c:v>
                </c:pt>
                <c:pt idx="3">
                  <c:v>0</c:v>
                </c:pt>
                <c:pt idx="4">
                  <c:v>0.47099999999999997</c:v>
                </c:pt>
                <c:pt idx="5">
                  <c:v>0.105</c:v>
                </c:pt>
                <c:pt idx="6">
                  <c:v>8.1000000000000003E-2</c:v>
                </c:pt>
                <c:pt idx="7">
                  <c:v>0.42199999999999999</c:v>
                </c:pt>
                <c:pt idx="8" formatCode="0%">
                  <c:v>0</c:v>
                </c:pt>
                <c:pt idx="9">
                  <c:v>6.4000000000000001E-2</c:v>
                </c:pt>
                <c:pt idx="10">
                  <c:v>0.71499999999999997</c:v>
                </c:pt>
                <c:pt idx="11">
                  <c:v>0.192</c:v>
                </c:pt>
              </c:numCache>
            </c:numRef>
          </c:val>
        </c:ser>
        <c:ser>
          <c:idx val="3"/>
          <c:order val="3"/>
          <c:tx>
            <c:strRef>
              <c:f>Arkusz2!$F$2</c:f>
              <c:strCache>
                <c:ptCount val="1"/>
                <c:pt idx="0">
                  <c:v>A/H3N2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4</c:f>
              <c:strCache>
                <c:ptCount val="12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</c:strCache>
            </c:strRef>
          </c:cat>
          <c:val>
            <c:numRef>
              <c:f>Arkusz2!$F$3:$F$14</c:f>
              <c:numCache>
                <c:formatCode>0.00%</c:formatCode>
                <c:ptCount val="12"/>
                <c:pt idx="0">
                  <c:v>0.115</c:v>
                </c:pt>
                <c:pt idx="1">
                  <c:v>0</c:v>
                </c:pt>
                <c:pt idx="2">
                  <c:v>0</c:v>
                </c:pt>
                <c:pt idx="3">
                  <c:v>3.7999999999999999E-2</c:v>
                </c:pt>
                <c:pt idx="4">
                  <c:v>4.1000000000000002E-2</c:v>
                </c:pt>
                <c:pt idx="5">
                  <c:v>0.105</c:v>
                </c:pt>
                <c:pt idx="6">
                  <c:v>7.6999999999999999E-2</c:v>
                </c:pt>
                <c:pt idx="7">
                  <c:v>3.0000000000000001E-3</c:v>
                </c:pt>
                <c:pt idx="8" formatCode="0%">
                  <c:v>0.28000000000000003</c:v>
                </c:pt>
                <c:pt idx="9" formatCode="0%">
                  <c:v>0.01</c:v>
                </c:pt>
                <c:pt idx="10">
                  <c:v>4.2999999999999997E-2</c:v>
                </c:pt>
                <c:pt idx="11">
                  <c:v>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85333632"/>
        <c:axId val="185335168"/>
      </c:barChart>
      <c:catAx>
        <c:axId val="18533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pl-PL"/>
          </a:p>
        </c:txPr>
        <c:crossAx val="185335168"/>
        <c:crosses val="autoZero"/>
        <c:auto val="1"/>
        <c:lblAlgn val="ctr"/>
        <c:lblOffset val="100"/>
        <c:noMultiLvlLbl val="0"/>
      </c:catAx>
      <c:valAx>
        <c:axId val="185335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pl-PL"/>
          </a:p>
        </c:txPr>
        <c:crossAx val="185333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82785046781218"/>
          <c:y val="0.92119048106675405"/>
          <c:w val="0.41360133205295624"/>
          <c:h val="7.8125546806649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206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J$65:$J$72</c:f>
              <c:strCache>
                <c:ptCount val="8"/>
                <c:pt idx="0">
                  <c:v>2012/2013</c:v>
                </c:pt>
                <c:pt idx="1">
                  <c:v>2013/2014</c:v>
                </c:pt>
                <c:pt idx="2">
                  <c:v>2014/2015</c:v>
                </c:pt>
                <c:pt idx="3">
                  <c:v>2015/2016</c:v>
                </c:pt>
                <c:pt idx="4">
                  <c:v>2016/2017</c:v>
                </c:pt>
                <c:pt idx="5">
                  <c:v>2017/2018</c:v>
                </c:pt>
                <c:pt idx="6">
                  <c:v>2018/2019</c:v>
                </c:pt>
                <c:pt idx="7">
                  <c:v>2019/2020</c:v>
                </c:pt>
              </c:strCache>
            </c:strRef>
          </c:cat>
          <c:val>
            <c:numRef>
              <c:f>Arkusz1!$K$65:$K$72</c:f>
              <c:numCache>
                <c:formatCode>#,##0</c:formatCode>
                <c:ptCount val="8"/>
                <c:pt idx="0">
                  <c:v>1411</c:v>
                </c:pt>
                <c:pt idx="1">
                  <c:v>1422</c:v>
                </c:pt>
                <c:pt idx="2">
                  <c:v>1424</c:v>
                </c:pt>
                <c:pt idx="3">
                  <c:v>1253.8019999999999</c:v>
                </c:pt>
                <c:pt idx="4">
                  <c:v>1251.4010000000001</c:v>
                </c:pt>
                <c:pt idx="5">
                  <c:v>1399.288</c:v>
                </c:pt>
                <c:pt idx="6">
                  <c:v>1498.5039999999999</c:v>
                </c:pt>
                <c:pt idx="7">
                  <c:v>1581.785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CF-4262-839E-849ABD188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3848960"/>
        <c:axId val="273854848"/>
      </c:barChart>
      <c:catAx>
        <c:axId val="27384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73854848"/>
        <c:crosses val="autoZero"/>
        <c:auto val="1"/>
        <c:lblAlgn val="ctr"/>
        <c:lblOffset val="100"/>
        <c:noMultiLvlLbl val="0"/>
      </c:catAx>
      <c:valAx>
        <c:axId val="273854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73848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/>
              <a:t>Wyszczepialność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324706048515236E-2"/>
          <c:y val="0.13717982283576358"/>
          <c:w val="0.85696220707837534"/>
          <c:h val="0.69241470654788928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'[WYSZCZEPIALNOŚĆ 2019.xlsx]Arkusz1'!$G$33</c:f>
              <c:strCache>
                <c:ptCount val="1"/>
                <c:pt idx="0">
                  <c:v>OGÓŁE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YSZCZEPIALNOŚĆ 2019.xlsx]Arkusz1'!$B$34:$B$42</c:f>
              <c:strCache>
                <c:ptCount val="9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</c:strCache>
            </c:strRef>
          </c:cat>
          <c:val>
            <c:numRef>
              <c:f>'[WYSZCZEPIALNOŚĆ 2019.xlsx]Arkusz1'!$G$34:$G$42</c:f>
              <c:numCache>
                <c:formatCode>0.00%</c:formatCode>
                <c:ptCount val="9"/>
                <c:pt idx="0">
                  <c:v>4.4838340268355911E-2</c:v>
                </c:pt>
                <c:pt idx="1">
                  <c:v>3.6617679685302836E-2</c:v>
                </c:pt>
                <c:pt idx="2">
                  <c:v>3.6939229953174724E-2</c:v>
                </c:pt>
                <c:pt idx="3">
                  <c:v>3.700758151244684E-2</c:v>
                </c:pt>
                <c:pt idx="4">
                  <c:v>3.2619460518483127E-2</c:v>
                </c:pt>
                <c:pt idx="5">
                  <c:v>3.2560592732410736E-2</c:v>
                </c:pt>
                <c:pt idx="6">
                  <c:v>3.640797451019237E-2</c:v>
                </c:pt>
                <c:pt idx="7">
                  <c:v>3.9004242692417812E-2</c:v>
                </c:pt>
                <c:pt idx="8">
                  <c:v>4.12110172073911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2F-4E50-82E0-1319884E63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4268032"/>
        <c:axId val="284269568"/>
      </c:barChart>
      <c:lineChart>
        <c:grouping val="standard"/>
        <c:varyColors val="0"/>
        <c:ser>
          <c:idx val="0"/>
          <c:order val="0"/>
          <c:tx>
            <c:strRef>
              <c:f>'[WYSZCZEPIALNOŚĆ 2019.xlsx]Arkusz1'!$C$33</c:f>
              <c:strCache>
                <c:ptCount val="1"/>
                <c:pt idx="0">
                  <c:v>0-4 la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[WYSZCZEPIALNOŚĆ 2019.xlsx]Arkusz1'!$B$34:$B$42</c:f>
              <c:strCache>
                <c:ptCount val="9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</c:strCache>
            </c:strRef>
          </c:cat>
          <c:val>
            <c:numRef>
              <c:f>'[WYSZCZEPIALNOŚĆ 2019.xlsx]Arkusz1'!$C$34:$C$42</c:f>
              <c:numCache>
                <c:formatCode>0.00%</c:formatCode>
                <c:ptCount val="9"/>
                <c:pt idx="0">
                  <c:v>1.4181343641405629E-2</c:v>
                </c:pt>
                <c:pt idx="1">
                  <c:v>1.0147127164143687E-2</c:v>
                </c:pt>
                <c:pt idx="2">
                  <c:v>1.0227190666848537E-2</c:v>
                </c:pt>
                <c:pt idx="3">
                  <c:v>8.9071870591923771E-3</c:v>
                </c:pt>
                <c:pt idx="4">
                  <c:v>7.2752996931608046E-3</c:v>
                </c:pt>
                <c:pt idx="5">
                  <c:v>7.4439457591575159E-3</c:v>
                </c:pt>
                <c:pt idx="6">
                  <c:v>7.6470703018905141E-3</c:v>
                </c:pt>
                <c:pt idx="7">
                  <c:v>8.3475328344986832E-3</c:v>
                </c:pt>
                <c:pt idx="8">
                  <c:v>1.042500667200427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E2F-4E50-82E0-1319884E63AB}"/>
            </c:ext>
          </c:extLst>
        </c:ser>
        <c:ser>
          <c:idx val="1"/>
          <c:order val="1"/>
          <c:tx>
            <c:strRef>
              <c:f>'[WYSZCZEPIALNOŚĆ 2019.xlsx]Arkusz1'!$D$33</c:f>
              <c:strCache>
                <c:ptCount val="1"/>
                <c:pt idx="0">
                  <c:v>5-14 la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[WYSZCZEPIALNOŚĆ 2019.xlsx]Arkusz1'!$B$34:$B$42</c:f>
              <c:strCache>
                <c:ptCount val="9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</c:strCache>
            </c:strRef>
          </c:cat>
          <c:val>
            <c:numRef>
              <c:f>'[WYSZCZEPIALNOŚĆ 2019.xlsx]Arkusz1'!$D$34:$D$42</c:f>
              <c:numCache>
                <c:formatCode>0.00%</c:formatCode>
                <c:ptCount val="9"/>
                <c:pt idx="0">
                  <c:v>2.4491952877967543E-2</c:v>
                </c:pt>
                <c:pt idx="1">
                  <c:v>1.7913350834640119E-2</c:v>
                </c:pt>
                <c:pt idx="2">
                  <c:v>1.6726629656397509E-2</c:v>
                </c:pt>
                <c:pt idx="3">
                  <c:v>1.5579897358306031E-2</c:v>
                </c:pt>
                <c:pt idx="4">
                  <c:v>1.3094774381072741E-2</c:v>
                </c:pt>
                <c:pt idx="5">
                  <c:v>1.3101644872979552E-2</c:v>
                </c:pt>
                <c:pt idx="6">
                  <c:v>1.2983481956015019E-2</c:v>
                </c:pt>
                <c:pt idx="7">
                  <c:v>1.3929312033811252E-2</c:v>
                </c:pt>
                <c:pt idx="8">
                  <c:v>1.385522000451932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E2F-4E50-82E0-1319884E63AB}"/>
            </c:ext>
          </c:extLst>
        </c:ser>
        <c:ser>
          <c:idx val="2"/>
          <c:order val="2"/>
          <c:tx>
            <c:strRef>
              <c:f>'[WYSZCZEPIALNOŚĆ 2019.xlsx]Arkusz1'!$E$33</c:f>
              <c:strCache>
                <c:ptCount val="1"/>
                <c:pt idx="0">
                  <c:v>15-64 la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[WYSZCZEPIALNOŚĆ 2019.xlsx]Arkusz1'!$B$34:$B$42</c:f>
              <c:strCache>
                <c:ptCount val="9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</c:strCache>
            </c:strRef>
          </c:cat>
          <c:val>
            <c:numRef>
              <c:f>'[WYSZCZEPIALNOŚĆ 2019.xlsx]Arkusz1'!$E$34:$E$42</c:f>
              <c:numCache>
                <c:formatCode>0.00%</c:formatCode>
                <c:ptCount val="9"/>
                <c:pt idx="0">
                  <c:v>3.1420115362928838E-2</c:v>
                </c:pt>
                <c:pt idx="1">
                  <c:v>2.4306776116366315E-2</c:v>
                </c:pt>
                <c:pt idx="2">
                  <c:v>2.5262105326389818E-2</c:v>
                </c:pt>
                <c:pt idx="3">
                  <c:v>2.4144830308813533E-2</c:v>
                </c:pt>
                <c:pt idx="4">
                  <c:v>1.8772119563409927E-2</c:v>
                </c:pt>
                <c:pt idx="5">
                  <c:v>1.7696048481605275E-2</c:v>
                </c:pt>
                <c:pt idx="6">
                  <c:v>1.8620349071558337E-2</c:v>
                </c:pt>
                <c:pt idx="7">
                  <c:v>1.8381976656752234E-2</c:v>
                </c:pt>
                <c:pt idx="8">
                  <c:v>1.8025458394867296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E2F-4E50-82E0-1319884E63AB}"/>
            </c:ext>
          </c:extLst>
        </c:ser>
        <c:ser>
          <c:idx val="3"/>
          <c:order val="3"/>
          <c:tx>
            <c:strRef>
              <c:f>'[WYSZCZEPIALNOŚĆ 2019.xlsx]Arkusz1'!$F$33</c:f>
              <c:strCache>
                <c:ptCount val="1"/>
                <c:pt idx="0">
                  <c:v>65+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YSZCZEPIALNOŚĆ 2019.xlsx]Arkusz1'!$B$34:$B$42</c:f>
              <c:strCache>
                <c:ptCount val="9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</c:strCache>
            </c:strRef>
          </c:cat>
          <c:val>
            <c:numRef>
              <c:f>'[WYSZCZEPIALNOŚĆ 2019.xlsx]Arkusz1'!$F$34:$F$42</c:f>
              <c:numCache>
                <c:formatCode>0.00%</c:formatCode>
                <c:ptCount val="9"/>
                <c:pt idx="0">
                  <c:v>0.1419690266290386</c:v>
                </c:pt>
                <c:pt idx="1">
                  <c:v>0.1251186709995325</c:v>
                </c:pt>
                <c:pt idx="2">
                  <c:v>0.11547492793438222</c:v>
                </c:pt>
                <c:pt idx="3">
                  <c:v>0.11746586297317675</c:v>
                </c:pt>
                <c:pt idx="4">
                  <c:v>0.11355374169453122</c:v>
                </c:pt>
                <c:pt idx="5">
                  <c:v>0.11422397894471321</c:v>
                </c:pt>
                <c:pt idx="6">
                  <c:v>0.1300564227091397</c:v>
                </c:pt>
                <c:pt idx="7">
                  <c:v>0.14155511588803926</c:v>
                </c:pt>
                <c:pt idx="8">
                  <c:v>0.150608504514077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DE2F-4E50-82E0-1319884E63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4268032"/>
        <c:axId val="284269568"/>
      </c:lineChart>
      <c:catAx>
        <c:axId val="284268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84269568"/>
        <c:crosses val="autoZero"/>
        <c:auto val="1"/>
        <c:lblAlgn val="ctr"/>
        <c:lblOffset val="100"/>
        <c:noMultiLvlLbl val="0"/>
      </c:catAx>
      <c:valAx>
        <c:axId val="284269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84268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l-PL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56738" y="1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359757-BFA8-4F93-B9B0-125E57CAA016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1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56738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B153E-DD06-44D3-BA08-BB0593FCA2C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479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6719" y="1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E6ECEA-B30A-49FE-B00D-AB69B50987EE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662" y="4721303"/>
            <a:ext cx="5447465" cy="44733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42604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6719" y="9442604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490C81-84BB-439C-9116-12D4423BD367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3721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Shape 185"/>
          <p:cNvSpPr>
            <a:spLocks noGrp="1" noRot="1" noChangeAspect="1"/>
          </p:cNvSpPr>
          <p:nvPr>
            <p:ph type="sldImg" idx="2"/>
          </p:nvPr>
        </p:nvSpPr>
        <p:spPr>
          <a:xfrm>
            <a:off x="-215900" y="808038"/>
            <a:ext cx="7177088" cy="40386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6" name="Shape 186"/>
          <p:cNvSpPr txBox="1">
            <a:spLocks noGrp="1"/>
          </p:cNvSpPr>
          <p:nvPr>
            <p:ph type="body" idx="1"/>
          </p:nvPr>
        </p:nvSpPr>
        <p:spPr>
          <a:xfrm>
            <a:off x="674574" y="5115434"/>
            <a:ext cx="5396595" cy="4846201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pl-PL" dirty="0" smtClean="0"/>
              <a:t>Dlaczego ten slajd dopiero teraz</a:t>
            </a:r>
            <a:endParaRPr dirty="0"/>
          </a:p>
        </p:txBody>
      </p:sp>
      <p:sp>
        <p:nvSpPr>
          <p:cNvPr id="187" name="Shape 187"/>
          <p:cNvSpPr txBox="1">
            <a:spLocks noGrp="1"/>
          </p:cNvSpPr>
          <p:nvPr>
            <p:ph type="sldNum" idx="12"/>
          </p:nvPr>
        </p:nvSpPr>
        <p:spPr>
          <a:xfrm>
            <a:off x="3821027" y="10229000"/>
            <a:ext cx="2923155" cy="538467"/>
          </a:xfrm>
          <a:prstGeom prst="rect">
            <a:avLst/>
          </a:prstGeom>
        </p:spPr>
        <p:txBody>
          <a:bodyPr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pl-PL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50252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7812" cy="372745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61EBF4-AC43-4EAF-8B87-7F68C7D8034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345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61EBF4-AC43-4EAF-8B87-7F68C7D8034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009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2047166" y="1122363"/>
            <a:ext cx="8620836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2019868" y="3602038"/>
            <a:ext cx="864813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 smtClean="0"/>
              <a:t>Kliknij, aby edytować styl wzorca podtytułu</a:t>
            </a:r>
            <a:endParaRPr lang="pl-PL" dirty="0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502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22882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601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2045"/>
            <a:ext cx="9281160" cy="461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90650"/>
            <a:ext cx="10515600" cy="156966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D3A04-B991-9146-B766-5142E7E10F2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6"/>
          <p:cNvSpPr>
            <a:spLocks noGrp="1"/>
          </p:cNvSpPr>
          <p:nvPr>
            <p:ph type="pic" sz="quarter" idx="22" hasCustomPrompt="1"/>
          </p:nvPr>
        </p:nvSpPr>
        <p:spPr>
          <a:xfrm>
            <a:off x="10795001" y="341314"/>
            <a:ext cx="605367" cy="454025"/>
          </a:xfrm>
        </p:spPr>
        <p:txBody>
          <a:bodyPr anchor="ctr">
            <a:noAutofit/>
          </a:bodyPr>
          <a:lstStyle>
            <a:lvl1pPr marL="0" indent="0" algn="ctr">
              <a:buNone/>
              <a:defRPr sz="100"/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943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DD3A04-B991-9146-B766-5142E7E10F2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18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1965277" y="1825625"/>
            <a:ext cx="9388523" cy="4351338"/>
          </a:xfrm>
        </p:spPr>
        <p:txBody>
          <a:bodyPr/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57803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49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4425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0233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14132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16304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4594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18701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4694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1972502" y="365126"/>
            <a:ext cx="938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1972502" y="1825625"/>
            <a:ext cx="93813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26947-EF3D-4199-A703-D2BDDF2CD09D}" type="datetimeFigureOut">
              <a:rPr lang="pl-PL" smtClean="0"/>
              <a:pPr/>
              <a:t>22.01.2021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480" y="329609"/>
            <a:ext cx="1692853" cy="1849797"/>
          </a:xfrm>
          <a:prstGeom prst="rect">
            <a:avLst/>
          </a:prstGeom>
        </p:spPr>
      </p:pic>
      <p:sp>
        <p:nvSpPr>
          <p:cNvPr id="8" name="Prostokąt 7"/>
          <p:cNvSpPr/>
          <p:nvPr userDrawn="1"/>
        </p:nvSpPr>
        <p:spPr>
          <a:xfrm flipV="1">
            <a:off x="0" y="0"/>
            <a:ext cx="12192000" cy="22071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248C24"/>
              </a:solidFill>
            </a:endParaRPr>
          </a:p>
        </p:txBody>
      </p:sp>
      <p:sp>
        <p:nvSpPr>
          <p:cNvPr id="9" name="Prostokąt 8"/>
          <p:cNvSpPr/>
          <p:nvPr userDrawn="1"/>
        </p:nvSpPr>
        <p:spPr>
          <a:xfrm flipV="1">
            <a:off x="0" y="6640734"/>
            <a:ext cx="12192000" cy="22071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325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pzh.gov.pl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4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orowania i podejrzenia zachorowań na grypę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Średnia dzienna zapadalność (na 100 tys. ludności) wg tygodniowych meldunków w sezonie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/21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porównaniu z sezonami 2015/16 –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/20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www.pzh.gov.pl)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NIZP-PZH.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385" y="1773987"/>
            <a:ext cx="7360940" cy="4841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020635"/>
              </p:ext>
            </p:extLst>
          </p:nvPr>
        </p:nvGraphicFramePr>
        <p:xfrm>
          <a:off x="3272591" y="4411189"/>
          <a:ext cx="6377483" cy="1477731"/>
        </p:xfrm>
        <a:graphic>
          <a:graphicData uri="http://schemas.openxmlformats.org/drawingml/2006/table">
            <a:tbl>
              <a:tblPr/>
              <a:tblGrid>
                <a:gridCol w="998620"/>
                <a:gridCol w="878305"/>
                <a:gridCol w="866274"/>
                <a:gridCol w="926431"/>
                <a:gridCol w="866274"/>
                <a:gridCol w="903115"/>
                <a:gridCol w="938464"/>
              </a:tblGrid>
              <a:tr h="26909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-15.01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/20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/20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/2018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/2019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/2020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/2021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469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orowania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 415 662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</a:t>
                      </a:r>
                      <a:r>
                        <a:rPr lang="pl-PL" sz="1200" b="1" baseline="0" dirty="0" smtClean="0"/>
                        <a:t> 798 424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 986</a:t>
                      </a:r>
                      <a:r>
                        <a:rPr lang="pl-PL" sz="1200" b="1" baseline="0" dirty="0" smtClean="0"/>
                        <a:t> 458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 792 502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 901 073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943 030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956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21,3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10,4%</a:t>
                      </a:r>
                      <a:endParaRPr lang="pl-PL" sz="1200" b="0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9,8%</a:t>
                      </a:r>
                      <a:endParaRPr lang="pl-PL" sz="1200" b="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6%</a:t>
                      </a:r>
                      <a:endParaRPr lang="pl-PL" sz="1200" b="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50,4%</a:t>
                      </a:r>
                      <a:endParaRPr lang="pl-PL" sz="1200" b="0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813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zacj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3 806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5 071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 595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 441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 892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 814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583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33,3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9,4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3,3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10,1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0" dirty="0" smtClean="0"/>
                        <a:t>-62,9%</a:t>
                      </a:r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3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gony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6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Prostokąt 3"/>
          <p:cNvSpPr/>
          <p:nvPr/>
        </p:nvSpPr>
        <p:spPr>
          <a:xfrm>
            <a:off x="8672118" y="4435257"/>
            <a:ext cx="998886" cy="144379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3912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8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orowania i podejrzenia zachorowań na grypę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g tygodniowych meldunków w sezonie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/21 </a:t>
            </a:r>
            <a:r>
              <a:rPr lang="pl-PL" sz="16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grupach wiekowych (www.pzh.gov.pl)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2903470"/>
              </p:ext>
            </p:extLst>
          </p:nvPr>
        </p:nvGraphicFramePr>
        <p:xfrm>
          <a:off x="3056238" y="1978541"/>
          <a:ext cx="5479515" cy="883773"/>
        </p:xfrm>
        <a:graphic>
          <a:graphicData uri="http://schemas.openxmlformats.org/drawingml/2006/table">
            <a:tbl>
              <a:tblPr/>
              <a:tblGrid>
                <a:gridCol w="1170933"/>
                <a:gridCol w="1097283"/>
                <a:gridCol w="1301426"/>
                <a:gridCol w="1000410"/>
                <a:gridCol w="909463"/>
              </a:tblGrid>
              <a:tr h="18903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orowania w okresie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.2020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–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18903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k (ukończone lata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250519"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55192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27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67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86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85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3</a:t>
                      </a:r>
                      <a:r>
                        <a:rPr lang="pl-PL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30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748111"/>
              </p:ext>
            </p:extLst>
          </p:nvPr>
        </p:nvGraphicFramePr>
        <p:xfrm>
          <a:off x="3056238" y="3334544"/>
          <a:ext cx="5715493" cy="1135233"/>
        </p:xfrm>
        <a:graphic>
          <a:graphicData uri="http://schemas.openxmlformats.org/drawingml/2006/table">
            <a:tbl>
              <a:tblPr/>
              <a:tblGrid>
                <a:gridCol w="1322226"/>
                <a:gridCol w="1400052"/>
                <a:gridCol w="1412828"/>
                <a:gridCol w="1347837"/>
                <a:gridCol w="232550"/>
              </a:tblGrid>
              <a:tr h="19050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zacje w okresie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.2020 </a:t>
                      </a:r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9050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zyczyna skierowania do szpital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477515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awy ze strony </a:t>
                      </a:r>
                      <a:r>
                        <a:rPr lang="pl-P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ł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krążen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awy ze strony </a:t>
                      </a:r>
                      <a:r>
                        <a:rPr lang="pl-P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ł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ddechowe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e przyczyn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276718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pl-PL" sz="11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62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14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471227"/>
              </p:ext>
            </p:extLst>
          </p:nvPr>
        </p:nvGraphicFramePr>
        <p:xfrm>
          <a:off x="3056237" y="5029479"/>
          <a:ext cx="5479516" cy="876300"/>
        </p:xfrm>
        <a:graphic>
          <a:graphicData uri="http://schemas.openxmlformats.org/drawingml/2006/table">
            <a:tbl>
              <a:tblPr/>
              <a:tblGrid>
                <a:gridCol w="1170933"/>
                <a:gridCol w="1000410"/>
                <a:gridCol w="1398300"/>
                <a:gridCol w="1000410"/>
                <a:gridCol w="909463"/>
              </a:tblGrid>
              <a:tr h="19050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gony w okresie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.2020 </a:t>
                      </a:r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1.2021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19050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k (ukończone lata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8535753" y="4437786"/>
            <a:ext cx="32457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dirty="0"/>
              <a:t>* przyczyn skierowania do szpitala może być kilka </a:t>
            </a:r>
          </a:p>
        </p:txBody>
      </p:sp>
      <p:sp>
        <p:nvSpPr>
          <p:cNvPr id="11" name="Prostokąt 4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NIZP-PZH.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0125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/>
          <p:cNvSpPr/>
          <p:nvPr/>
        </p:nvSpPr>
        <p:spPr>
          <a:xfrm>
            <a:off x="991132" y="5867492"/>
            <a:ext cx="106469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zba </a:t>
            </a:r>
            <a:r>
              <a:rPr lang="pl-PL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procentowy udział potwierdzeń laboratoryjnych wg typu </a:t>
            </a:r>
            <a:r>
              <a:rPr lang="pl-PL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usa grypy. </a:t>
            </a:r>
            <a:r>
              <a:rPr lang="pl-PL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</a:t>
            </a:r>
            <a:r>
              <a:rPr lang="pl-PL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15.01.2021</a:t>
            </a:r>
            <a:endParaRPr lang="pl-PL" dirty="0">
              <a:solidFill>
                <a:srgbClr val="002060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NIZP-PZH.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atoryjnie potwierdzone przypadki </a:t>
            </a:r>
            <a:endParaRPr lang="pl-PL" sz="2800" b="1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każeń </a:t>
            </a: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usami grypy </a:t>
            </a: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z </a:t>
            </a: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zczepy wirusa grypy </a:t>
            </a:r>
            <a:endParaRPr lang="pl-PL" sz="2800" b="1" dirty="0" smtClean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zolowane </a:t>
            </a: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sezonie epidemicznym </a:t>
            </a: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/2021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426" y="2490617"/>
            <a:ext cx="8757393" cy="2634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640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Powiększ wykr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692" y="1643909"/>
            <a:ext cx="7537183" cy="4944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+mn-lt"/>
              </a:rPr>
              <a:t>PORÓWNANIE PEŁNYCH SEZONÓW </a:t>
            </a:r>
            <a:r>
              <a:rPr lang="pl-PL" sz="2800" b="1" dirty="0" smtClean="0">
                <a:solidFill>
                  <a:srgbClr val="002060"/>
                </a:solidFill>
                <a:latin typeface="+mn-lt"/>
              </a:rPr>
              <a:t>GRYPOWYCH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400" b="1" dirty="0">
                <a:solidFill>
                  <a:srgbClr val="002060"/>
                </a:solidFill>
              </a:rPr>
              <a:t>Zachorowania i podejrzenia zachorowań na grypę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1600" dirty="0">
                <a:solidFill>
                  <a:srgbClr val="002060"/>
                </a:solidFill>
                <a:latin typeface="+mn-lt"/>
              </a:rPr>
              <a:t>Średnia dzienna zapadalność (na </a:t>
            </a:r>
            <a:r>
              <a:rPr lang="pl-PL" sz="1600" dirty="0" smtClean="0">
                <a:solidFill>
                  <a:srgbClr val="002060"/>
                </a:solidFill>
                <a:latin typeface="+mn-lt"/>
              </a:rPr>
              <a:t>100 tys</a:t>
            </a:r>
            <a:r>
              <a:rPr lang="pl-PL" sz="1600" dirty="0">
                <a:solidFill>
                  <a:srgbClr val="002060"/>
                </a:solidFill>
                <a:latin typeface="+mn-lt"/>
              </a:rPr>
              <a:t>. ludności) wg tygodniowych meldunków w sezonie </a:t>
            </a:r>
            <a:r>
              <a:rPr lang="pl-PL" sz="1600" dirty="0" smtClean="0">
                <a:solidFill>
                  <a:srgbClr val="002060"/>
                </a:solidFill>
                <a:latin typeface="+mn-lt"/>
              </a:rPr>
              <a:t>2019/20 </a:t>
            </a:r>
            <a:r>
              <a:rPr lang="pl-PL" sz="1600" dirty="0">
                <a:solidFill>
                  <a:srgbClr val="002060"/>
                </a:solidFill>
                <a:latin typeface="+mn-lt"/>
              </a:rPr>
              <a:t/>
            </a:r>
            <a:br>
              <a:rPr lang="pl-PL" sz="1600" dirty="0">
                <a:solidFill>
                  <a:srgbClr val="002060"/>
                </a:solidFill>
                <a:latin typeface="+mn-lt"/>
              </a:rPr>
            </a:br>
            <a:r>
              <a:rPr lang="pl-PL" sz="1600" dirty="0">
                <a:solidFill>
                  <a:srgbClr val="002060"/>
                </a:solidFill>
                <a:latin typeface="+mn-lt"/>
              </a:rPr>
              <a:t>w porównaniu z sezonami </a:t>
            </a:r>
            <a:r>
              <a:rPr lang="pl-PL" sz="1600" dirty="0" smtClean="0">
                <a:solidFill>
                  <a:srgbClr val="002060"/>
                </a:solidFill>
                <a:latin typeface="+mn-lt"/>
              </a:rPr>
              <a:t>2014/15 - 2018/19 </a:t>
            </a:r>
            <a:r>
              <a:rPr lang="pl-PL" sz="1600" dirty="0">
                <a:solidFill>
                  <a:srgbClr val="002060"/>
                </a:solidFill>
                <a:latin typeface="+mn-lt"/>
              </a:rPr>
              <a:t>(www.pzh.gov.pl)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endParaRPr lang="pl-PL" sz="28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NIZP-PZH.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4"/>
              </a:rPr>
              <a:t>www.pzh.gov.pl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687138"/>
              </p:ext>
            </p:extLst>
          </p:nvPr>
        </p:nvGraphicFramePr>
        <p:xfrm>
          <a:off x="3231192" y="4297659"/>
          <a:ext cx="6319057" cy="1482636"/>
        </p:xfrm>
        <a:graphic>
          <a:graphicData uri="http://schemas.openxmlformats.org/drawingml/2006/table">
            <a:tbl>
              <a:tblPr/>
              <a:tblGrid>
                <a:gridCol w="949225"/>
                <a:gridCol w="806488"/>
                <a:gridCol w="824345"/>
                <a:gridCol w="835031"/>
                <a:gridCol w="868105"/>
                <a:gridCol w="1013171"/>
                <a:gridCol w="1022692"/>
              </a:tblGrid>
              <a:tr h="2623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-31.08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/201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/20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/20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/2018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/2019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/2020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9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orowania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3 773 795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 069 412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</a:t>
                      </a:r>
                      <a:r>
                        <a:rPr lang="pl-PL" sz="1200" b="1" baseline="0" dirty="0" smtClean="0"/>
                        <a:t> 839 025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5 415</a:t>
                      </a:r>
                      <a:r>
                        <a:rPr lang="pl-PL" sz="1200" b="1" baseline="0" dirty="0" smtClean="0"/>
                        <a:t> 933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 632 114 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3 969 074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9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7,8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18,9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11,9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-14,5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-14,3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9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zacj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2 227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7 049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6 97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8 555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7 542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7 639</a:t>
                      </a:r>
                      <a:endParaRPr lang="pl-PL" sz="1200" b="1" dirty="0"/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45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0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38,9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-0,5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9,3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-5,4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>
                          <a:solidFill>
                            <a:srgbClr val="FF0000"/>
                          </a:solidFill>
                        </a:rPr>
                        <a:t>0,5%</a:t>
                      </a:r>
                      <a:endParaRPr lang="pl-PL" sz="1200" b="1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92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gony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1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4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25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47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150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dirty="0" smtClean="0"/>
                        <a:t>65</a:t>
                      </a:r>
                      <a:endParaRPr lang="pl-PL" sz="1200" b="1" dirty="0"/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0661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88786"/>
            <a:ext cx="110366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1. 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NIZP-PZH Influenza B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2008-2019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. 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. </a:t>
            </a:r>
            <a:r>
              <a:rPr lang="en-US" sz="14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she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B. Vaccine. 2010;28S:D45-D5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. </a:t>
            </a:r>
            <a:endParaRPr lang="pl-PL" sz="1400" dirty="0">
              <a:solidFill>
                <a:srgbClr val="002060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10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ntowy udział wirusa B </a:t>
            </a:r>
          </a:p>
          <a:p>
            <a:pPr algn="ctr"/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śród potwierdzonych zachorowań na grypę w Polsce</a:t>
            </a:r>
            <a:endParaRPr lang="pl-PL" sz="2800" b="1" baseline="30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1" algn="ctr"/>
            <a:r>
              <a:rPr lang="pl" sz="1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usy grypy </a:t>
            </a:r>
            <a:r>
              <a:rPr lang="pl" sz="17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u B to istotna przyczyna epidemii </a:t>
            </a:r>
            <a:r>
              <a:rPr lang="pl" sz="1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ypy występujących </a:t>
            </a:r>
            <a:r>
              <a:rPr lang="pl" sz="17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świecie co 2–4 </a:t>
            </a:r>
            <a:r>
              <a:rPr lang="pl" sz="17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ta</a:t>
            </a:r>
            <a:endParaRPr lang="pl" sz="17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9782387"/>
              </p:ext>
            </p:extLst>
          </p:nvPr>
        </p:nvGraphicFramePr>
        <p:xfrm>
          <a:off x="1391178" y="1802237"/>
          <a:ext cx="10290568" cy="4687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67131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Symbol zastępczy zawartości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6218335"/>
              </p:ext>
            </p:extLst>
          </p:nvPr>
        </p:nvGraphicFramePr>
        <p:xfrm>
          <a:off x="1759888" y="1364285"/>
          <a:ext cx="9875520" cy="5081221"/>
        </p:xfrm>
        <a:graphic>
          <a:graphicData uri="http://schemas.openxmlformats.org/drawingml/2006/table">
            <a:tbl>
              <a:tblPr/>
              <a:tblGrid>
                <a:gridCol w="1900154"/>
                <a:gridCol w="1667913"/>
                <a:gridCol w="1752364"/>
                <a:gridCol w="1752364"/>
                <a:gridCol w="1298438"/>
                <a:gridCol w="1504287"/>
              </a:tblGrid>
              <a:tr h="5307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Sezon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Wiek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5861"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2/201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3/201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4/201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5/20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6/20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7/2018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8/2019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32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9/202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  <a:endParaRPr lang="pl-PL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Shape 189"/>
          <p:cNvSpPr txBox="1">
            <a:spLocks/>
          </p:cNvSpPr>
          <p:nvPr/>
        </p:nvSpPr>
        <p:spPr>
          <a:xfrm>
            <a:off x="821085" y="3625906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zba potwierdzonych zgonów z powodu grypy 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czasie ostatnich 8</a:t>
            </a:r>
            <a:r>
              <a:rPr lang="pl-PL" sz="28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zonów grypowych w Polsce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epidemiologiczne </a:t>
            </a:r>
            <a:r>
              <a:rPr lang="pl-PL" sz="1400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NIZP-PZH. 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ostępne na 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 smtClean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262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="" xmlns:a16="http://schemas.microsoft.com/office/drawing/2014/main" id="{34F10483-3665-499D-A5B5-0CE926DC10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446273"/>
              </p:ext>
            </p:extLst>
          </p:nvPr>
        </p:nvGraphicFramePr>
        <p:xfrm>
          <a:off x="1581" y="1592"/>
          <a:ext cx="1582" cy="15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1" y="1592"/>
                        <a:ext cx="1582" cy="15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="" xmlns:a16="http://schemas.microsoft.com/office/drawing/2014/main" id="{9A85DA84-5E9D-4394-96C7-B67F2FC2FA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112" cy="1591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2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18" name="Wykres 17">
            <a:extLst>
              <a:ext uri="{FF2B5EF4-FFF2-40B4-BE49-F238E27FC236}">
                <a16:creationId xmlns="" xmlns:a16="http://schemas.microsoft.com/office/drawing/2014/main" id="{B00081B2-5F06-4C78-836F-8B19F7E441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1494232"/>
              </p:ext>
            </p:extLst>
          </p:nvPr>
        </p:nvGraphicFramePr>
        <p:xfrm>
          <a:off x="1287772" y="1635625"/>
          <a:ext cx="10545709" cy="4202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ytuł 1">
            <a:extLst>
              <a:ext uri="{FF2B5EF4-FFF2-40B4-BE49-F238E27FC236}">
                <a16:creationId xmlns="" xmlns:a16="http://schemas.microsoft.com/office/drawing/2014/main" id="{57D00004-3AC8-4164-9951-AC42B7498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227" y="492624"/>
            <a:ext cx="9172420" cy="1143000"/>
          </a:xfrm>
        </p:spPr>
        <p:txBody>
          <a:bodyPr>
            <a:normAutofit/>
          </a:bodyPr>
          <a:lstStyle/>
          <a:p>
            <a:pPr algn="ctr"/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zacunkowe liczby dawek szczepionek przeciw grypie sprzedanych na rynku polskim w sezonach 2012/2013 – 2019/2020</a:t>
            </a:r>
            <a:b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az poziom </a:t>
            </a:r>
            <a:r>
              <a:rPr lang="pl-PL" sz="2400" b="1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yszczepialności</a:t>
            </a:r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zeciw grypie populacji polskiej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="" xmlns:a16="http://schemas.microsoft.com/office/drawing/2014/main" id="{F6DD6029-B164-4EB4-996D-2E1979AD7D9D}"/>
              </a:ext>
            </a:extLst>
          </p:cNvPr>
          <p:cNvSpPr txBox="1"/>
          <p:nvPr/>
        </p:nvSpPr>
        <p:spPr>
          <a:xfrm>
            <a:off x="9211129" y="3640466"/>
            <a:ext cx="1080161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90%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="" xmlns:a16="http://schemas.microsoft.com/office/drawing/2014/main" id="{40CFED47-3E5C-4D05-A227-35FAAECD5402}"/>
              </a:ext>
            </a:extLst>
          </p:cNvPr>
          <p:cNvSpPr txBox="1"/>
          <p:nvPr/>
        </p:nvSpPr>
        <p:spPr>
          <a:xfrm>
            <a:off x="5519839" y="4159251"/>
            <a:ext cx="1034643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26%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="" xmlns:a16="http://schemas.microsoft.com/office/drawing/2014/main" id="{6BAD84F4-792E-49AB-9638-50358C46C909}"/>
              </a:ext>
            </a:extLst>
          </p:cNvPr>
          <p:cNvSpPr txBox="1"/>
          <p:nvPr/>
        </p:nvSpPr>
        <p:spPr>
          <a:xfrm>
            <a:off x="6724437" y="4180075"/>
            <a:ext cx="1034643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26%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="" xmlns:a16="http://schemas.microsoft.com/office/drawing/2014/main" id="{E16D5A2D-6FAE-4038-A773-81045ADA5683}"/>
              </a:ext>
            </a:extLst>
          </p:cNvPr>
          <p:cNvSpPr txBox="1"/>
          <p:nvPr/>
        </p:nvSpPr>
        <p:spPr>
          <a:xfrm>
            <a:off x="7943325" y="3946525"/>
            <a:ext cx="1138107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64%</a:t>
            </a:r>
          </a:p>
        </p:txBody>
      </p:sp>
      <p:sp>
        <p:nvSpPr>
          <p:cNvPr id="15" name="Prostokąt 14">
            <a:extLst>
              <a:ext uri="{FF2B5EF4-FFF2-40B4-BE49-F238E27FC236}">
                <a16:creationId xmlns="" xmlns:a16="http://schemas.microsoft.com/office/drawing/2014/main" id="{0E1947DE-D1C1-4176-91DB-BE3488CCD7D9}"/>
              </a:ext>
            </a:extLst>
          </p:cNvPr>
          <p:cNvSpPr/>
          <p:nvPr/>
        </p:nvSpPr>
        <p:spPr>
          <a:xfrm>
            <a:off x="727764" y="2405452"/>
            <a:ext cx="430312" cy="29449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>
                <a:solidFill>
                  <a:schemeClr val="tx1"/>
                </a:solidFill>
              </a:rPr>
              <a:t>Liczba dawek szczepionek przeciw grypie (w tysiącach)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="" xmlns:a16="http://schemas.microsoft.com/office/drawing/2014/main" id="{E6FB798C-09A6-431C-B285-068472C8FE9A}"/>
              </a:ext>
            </a:extLst>
          </p:cNvPr>
          <p:cNvSpPr/>
          <p:nvPr/>
        </p:nvSpPr>
        <p:spPr>
          <a:xfrm>
            <a:off x="773224" y="5799760"/>
            <a:ext cx="11144005" cy="586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600" dirty="0"/>
              <a:t/>
            </a:r>
            <a:br>
              <a:rPr lang="pl-PL" sz="1600" dirty="0"/>
            </a:b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Na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podstawie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estymacji rynkowych na bazie danych pochodzących od dystrybutorów oraz dostępnych na stronie www.pzh.gov.pl</a:t>
            </a:r>
          </a:p>
        </p:txBody>
      </p:sp>
      <p:sp>
        <p:nvSpPr>
          <p:cNvPr id="20" name="pole tekstowe 19">
            <a:extLst>
              <a:ext uri="{FF2B5EF4-FFF2-40B4-BE49-F238E27FC236}">
                <a16:creationId xmlns="" xmlns:a16="http://schemas.microsoft.com/office/drawing/2014/main" id="{6FCFC91E-BD79-4752-899F-3B62DD6018EC}"/>
              </a:ext>
            </a:extLst>
          </p:cNvPr>
          <p:cNvSpPr txBox="1"/>
          <p:nvPr/>
        </p:nvSpPr>
        <p:spPr>
          <a:xfrm>
            <a:off x="10420986" y="3429000"/>
            <a:ext cx="1080161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,12%</a:t>
            </a:r>
          </a:p>
        </p:txBody>
      </p:sp>
      <p:sp>
        <p:nvSpPr>
          <p:cNvPr id="21" name="pole tekstowe 20">
            <a:extLst>
              <a:ext uri="{FF2B5EF4-FFF2-40B4-BE49-F238E27FC236}">
                <a16:creationId xmlns="" xmlns:a16="http://schemas.microsoft.com/office/drawing/2014/main" id="{6C5A5D2E-EE3F-441B-A8BB-0111541A8A68}"/>
              </a:ext>
            </a:extLst>
          </p:cNvPr>
          <p:cNvSpPr txBox="1"/>
          <p:nvPr/>
        </p:nvSpPr>
        <p:spPr>
          <a:xfrm>
            <a:off x="4335230" y="3877909"/>
            <a:ext cx="1034643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70%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="" xmlns:a16="http://schemas.microsoft.com/office/drawing/2014/main" id="{BA7DBE76-3F72-4D86-BAC5-26B1D613B8E5}"/>
              </a:ext>
            </a:extLst>
          </p:cNvPr>
          <p:cNvSpPr txBox="1"/>
          <p:nvPr/>
        </p:nvSpPr>
        <p:spPr>
          <a:xfrm>
            <a:off x="3185714" y="3877909"/>
            <a:ext cx="1034643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69%</a:t>
            </a:r>
          </a:p>
        </p:txBody>
      </p:sp>
      <p:sp>
        <p:nvSpPr>
          <p:cNvPr id="23" name="pole tekstowe 22">
            <a:extLst>
              <a:ext uri="{FF2B5EF4-FFF2-40B4-BE49-F238E27FC236}">
                <a16:creationId xmlns="" xmlns:a16="http://schemas.microsoft.com/office/drawing/2014/main" id="{82764636-711C-49FD-9AF6-E9E599C6A147}"/>
              </a:ext>
            </a:extLst>
          </p:cNvPr>
          <p:cNvSpPr txBox="1"/>
          <p:nvPr/>
        </p:nvSpPr>
        <p:spPr>
          <a:xfrm>
            <a:off x="1920561" y="3881369"/>
            <a:ext cx="1034643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66%</a:t>
            </a:r>
          </a:p>
        </p:txBody>
      </p:sp>
    </p:spTree>
    <p:extLst>
      <p:ext uri="{BB962C8B-B14F-4D97-AF65-F5344CB8AC3E}">
        <p14:creationId xmlns:p14="http://schemas.microsoft.com/office/powerpoint/2010/main" val="3322410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="" xmlns:a16="http://schemas.microsoft.com/office/drawing/2014/main" id="{34F10483-3665-499D-A5B5-0CE926DC10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2" y="24063"/>
          <a:ext cx="1582" cy="1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2" y="24063"/>
                        <a:ext cx="1582" cy="15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="" xmlns:a16="http://schemas.microsoft.com/office/drawing/2014/main" id="{9A85DA84-5E9D-4394-96C7-B67F2FC2FA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2481"/>
            <a:ext cx="158112" cy="15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1992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="" xmlns:a16="http://schemas.microsoft.com/office/drawing/2014/main" id="{57D00004-3AC8-4164-9951-AC42B7498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227" y="511876"/>
            <a:ext cx="9172420" cy="1135507"/>
          </a:xfrm>
        </p:spPr>
        <p:txBody>
          <a:bodyPr>
            <a:noAutofit/>
          </a:bodyPr>
          <a:lstStyle/>
          <a:p>
            <a:pPr algn="ctr"/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Średnie poziomy zaszczepienia populacji w poszczególnych grupach wiekowych </a:t>
            </a:r>
            <a:r>
              <a:rPr lang="pl-PL" sz="24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</a:t>
            </a:r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tach </a:t>
            </a:r>
            <a:r>
              <a:rPr lang="pl-PL" sz="24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1-2020</a:t>
            </a:r>
            <a:r>
              <a:rPr lang="pl-PL" sz="20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pl-PL" sz="2000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pl-PL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336176" y="5853790"/>
            <a:ext cx="115644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600" b="1" dirty="0">
                <a:solidFill>
                  <a:srgbClr val="002060"/>
                </a:solidFill>
                <a:cs typeface="Calibri" panose="020F0502020204030204" pitchFamily="34" charset="0"/>
              </a:rPr>
              <a:t>Na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cs typeface="Calibri" panose="020F0502020204030204" pitchFamily="34" charset="0"/>
              </a:rPr>
              <a:t>podstawie estymacji rynkowych na bazie danych pochodzących od dystrybutorów oraz dostępnych na stronie www.pzh.gov.pl</a:t>
            </a:r>
            <a:endParaRPr lang="pl-PL" sz="1600" dirty="0"/>
          </a:p>
        </p:txBody>
      </p:sp>
      <p:graphicFrame>
        <p:nvGraphicFramePr>
          <p:cNvPr id="9" name="Chart 2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4829340"/>
              </p:ext>
            </p:extLst>
          </p:nvPr>
        </p:nvGraphicFramePr>
        <p:xfrm>
          <a:off x="2752724" y="1371600"/>
          <a:ext cx="7028949" cy="4482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764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KTB787xVOqfWVGx6x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KTB787xVOqfWVGx6xB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Pakiet 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65</TotalTime>
  <Words>586</Words>
  <Application>Microsoft Office PowerPoint</Application>
  <PresentationFormat>Niestandardowy</PresentationFormat>
  <Paragraphs>210</Paragraphs>
  <Slides>8</Slides>
  <Notes>3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0" baseType="lpstr">
      <vt:lpstr>Motyw pakietu Office</vt:lpstr>
      <vt:lpstr>think-cell Slide</vt:lpstr>
      <vt:lpstr>Prezentacja programu PowerPoint</vt:lpstr>
      <vt:lpstr>Zachorowania i podejrzenia zachorowań na grypę wg tygodniowych meldunków w sezonie 2020/21 w grupach wiekowych (www.pzh.gov.pl)</vt:lpstr>
      <vt:lpstr>Prezentacja programu PowerPoint</vt:lpstr>
      <vt:lpstr>Prezentacja programu PowerPoint</vt:lpstr>
      <vt:lpstr>Prezentacja programu PowerPoint</vt:lpstr>
      <vt:lpstr>Prezentacja programu PowerPoint</vt:lpstr>
      <vt:lpstr>Szacunkowe liczby dawek szczepionek przeciw grypie sprzedanych na rynku polskim w sezonach 2012/2013 – 2019/2020  oraz poziom wyszczepialności przeciw grypie populacji polskiej</vt:lpstr>
      <vt:lpstr>Średnie poziomy zaszczepienia populacji w poszczególnych grupach wiekowych w latach 2011-2020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Katarzyna Wlaś</dc:creator>
  <cp:lastModifiedBy>Paulina Keler</cp:lastModifiedBy>
  <cp:revision>710</cp:revision>
  <cp:lastPrinted>2018-01-02T15:00:40Z</cp:lastPrinted>
  <dcterms:created xsi:type="dcterms:W3CDTF">2015-01-12T08:52:16Z</dcterms:created>
  <dcterms:modified xsi:type="dcterms:W3CDTF">2021-01-22T11:47:01Z</dcterms:modified>
</cp:coreProperties>
</file>